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56" r:id="rId2"/>
    <p:sldId id="263" r:id="rId3"/>
    <p:sldId id="264" r:id="rId4"/>
    <p:sldId id="300" r:id="rId5"/>
    <p:sldId id="301" r:id="rId6"/>
    <p:sldId id="291" r:id="rId7"/>
    <p:sldId id="293" r:id="rId8"/>
    <p:sldId id="296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A5"/>
    <a:srgbClr val="DFDA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474" autoAdjust="0"/>
    <p:restoredTop sz="96940" autoAdjust="0"/>
  </p:normalViewPr>
  <p:slideViewPr>
    <p:cSldViewPr showGuides="1">
      <p:cViewPr varScale="1">
        <p:scale>
          <a:sx n="101" d="100"/>
          <a:sy n="101" d="100"/>
        </p:scale>
        <p:origin x="138" y="8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9E0628-4AA0-4EF8-8180-3F0D7808901E}" type="datetimeFigureOut">
              <a:rPr lang="de-DE" smtClean="0"/>
              <a:pPr/>
              <a:t>15.07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D892C3-0485-468F-A7AE-A798A2BA1B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144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9953993" y="2531268"/>
            <a:ext cx="1608000" cy="215531"/>
          </a:xfr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Location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717331" y="2268012"/>
            <a:ext cx="2734529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Position, 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3060700"/>
            <a:ext cx="12188825" cy="3076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434183"/>
            <a:ext cx="9144000" cy="545934"/>
          </a:xfrm>
        </p:spPr>
        <p:txBody>
          <a:bodyPr anchor="t">
            <a:noAutofit/>
          </a:bodyPr>
          <a:lstStyle>
            <a:lvl1pPr algn="l">
              <a:defRPr sz="4000"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021895"/>
            <a:ext cx="9144000" cy="38671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3865717" y="2268012"/>
            <a:ext cx="3128962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6274800"/>
            <a:ext cx="4608000" cy="441757"/>
          </a:xfrm>
          <a:prstGeom prst="rect">
            <a:avLst/>
          </a:prstGeom>
        </p:spPr>
      </p:pic>
      <p:sp>
        <p:nvSpPr>
          <p:cNvPr id="10" name="Datumsplatzhalter 2"/>
          <p:cNvSpPr>
            <a:spLocks noGrp="1"/>
          </p:cNvSpPr>
          <p:nvPr>
            <p:ph type="dt" sz="half" idx="2"/>
          </p:nvPr>
        </p:nvSpPr>
        <p:spPr>
          <a:xfrm>
            <a:off x="9953992" y="2267773"/>
            <a:ext cx="1608001" cy="2634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A0EDBD93-B964-454E-A703-B4ADF9CC0469}" type="datetime4">
              <a:rPr lang="de-DE" smtClean="0"/>
              <a:pPr>
                <a:lnSpc>
                  <a:spcPct val="110000"/>
                </a:lnSpc>
                <a:buClr>
                  <a:srgbClr val="3C3C3C"/>
                </a:buClr>
              </a:pPr>
              <a:t>15. Juli 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62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8" y="1531938"/>
            <a:ext cx="5155201" cy="270843"/>
          </a:xfrm>
        </p:spPr>
        <p:txBody>
          <a:bodyPr anchor="t">
            <a:spAutoFit/>
          </a:bodyPr>
          <a:lstStyle>
            <a:lvl1pPr marL="268288" indent="-268288">
              <a:spcBef>
                <a:spcPts val="600"/>
              </a:spcBef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19999" y="1541351"/>
            <a:ext cx="5099726" cy="270843"/>
          </a:xfrm>
        </p:spPr>
        <p:txBody>
          <a:bodyPr anchor="t">
            <a:spAutoFit/>
          </a:bodyPr>
          <a:lstStyle>
            <a:lvl1pPr marL="268288" indent="-268288">
              <a:spcBef>
                <a:spcPts val="600"/>
              </a:spcBef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66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lumns, no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>
            <a:lvl1pPr>
              <a:defRPr lang="en-US" sz="2400" b="1" kern="1200" noProof="0" dirty="0">
                <a:solidFill>
                  <a:srgbClr val="006EA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9" y="1060512"/>
            <a:ext cx="5155201" cy="270843"/>
          </a:xfrm>
        </p:spPr>
        <p:txBody>
          <a:bodyPr anchor="t">
            <a:spAutoFit/>
          </a:bodyPr>
          <a:lstStyle>
            <a:lvl1pPr marL="268288" indent="-268288">
              <a:spcBef>
                <a:spcPts val="600"/>
              </a:spcBef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20000" y="1069925"/>
            <a:ext cx="5099726" cy="270843"/>
          </a:xfrm>
        </p:spPr>
        <p:txBody>
          <a:bodyPr anchor="t">
            <a:spAutoFit/>
          </a:bodyPr>
          <a:lstStyle>
            <a:lvl1pPr marL="268288" indent="-268288">
              <a:spcBef>
                <a:spcPts val="600"/>
              </a:spcBef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84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719999" y="6487200"/>
            <a:ext cx="3888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531938"/>
            <a:ext cx="10694126" cy="1431161"/>
          </a:xfrm>
        </p:spPr>
        <p:txBody>
          <a:bodyPr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lang="de-DE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600"/>
              </a:spcBef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Text Header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11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354347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_Title and Content_List with Headlin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061735"/>
            <a:ext cx="10694126" cy="1431161"/>
          </a:xfrm>
        </p:spPr>
        <p:txBody>
          <a:bodyPr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lang="de-DE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600"/>
              </a:spcBef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Text Header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1152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486745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, no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899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52676"/>
            <a:ext cx="9144000" cy="597349"/>
          </a:xfrm>
        </p:spPr>
        <p:txBody>
          <a:bodyPr anchor="t">
            <a:noAutofit/>
          </a:bodyPr>
          <a:lstStyle>
            <a:lvl1pPr marL="0" indent="0"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078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ctrTitle" hasCustomPrompt="1"/>
          </p:nvPr>
        </p:nvSpPr>
        <p:spPr>
          <a:xfrm>
            <a:off x="719999" y="1452677"/>
            <a:ext cx="9144000" cy="394710"/>
          </a:xfrm>
        </p:spPr>
        <p:txBody>
          <a:bodyPr anchor="t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ank </a:t>
            </a:r>
            <a:r>
              <a:rPr lang="en-US" noProof="0" dirty="0"/>
              <a:t>you for your </a:t>
            </a:r>
            <a:r>
              <a:rPr lang="en-US" dirty="0"/>
              <a:t>attention!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4317457"/>
            <a:ext cx="5069716" cy="1561971"/>
          </a:xfrm>
        </p:spPr>
        <p:txBody>
          <a:bodyPr/>
          <a:lstStyle>
            <a:lvl1pPr marL="0" indent="0">
              <a:lnSpc>
                <a:spcPts val="2100"/>
              </a:lnSpc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en-US" sz="1600" noProof="0" dirty="0">
                <a:solidFill>
                  <a:schemeClr val="bg1"/>
                </a:solidFill>
              </a:rPr>
              <a:t>Contact Information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162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eb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3060700"/>
            <a:ext cx="9959975" cy="3076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5" name="object 12"/>
          <p:cNvSpPr/>
          <p:nvPr userDrawn="1"/>
        </p:nvSpPr>
        <p:spPr>
          <a:xfrm>
            <a:off x="9953993" y="3606393"/>
            <a:ext cx="2235835" cy="2531745"/>
          </a:xfrm>
          <a:custGeom>
            <a:avLst/>
            <a:gdLst/>
            <a:ahLst/>
            <a:cxnLst/>
            <a:rect l="l" t="t" r="r" b="b"/>
            <a:pathLst>
              <a:path w="2235834" h="2531745">
                <a:moveTo>
                  <a:pt x="0" y="2531605"/>
                </a:moveTo>
                <a:lnTo>
                  <a:pt x="2235606" y="2531605"/>
                </a:lnTo>
                <a:lnTo>
                  <a:pt x="2235606" y="0"/>
                </a:lnTo>
                <a:lnTo>
                  <a:pt x="0" y="0"/>
                </a:lnTo>
                <a:lnTo>
                  <a:pt x="0" y="2531605"/>
                </a:lnTo>
                <a:close/>
              </a:path>
            </a:pathLst>
          </a:custGeom>
          <a:solidFill>
            <a:srgbClr val="DFDBD7"/>
          </a:solid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18" name="object 14"/>
          <p:cNvSpPr/>
          <p:nvPr userDrawn="1"/>
        </p:nvSpPr>
        <p:spPr>
          <a:xfrm>
            <a:off x="9960356" y="3060065"/>
            <a:ext cx="2229485" cy="546328"/>
          </a:xfrm>
          <a:custGeom>
            <a:avLst/>
            <a:gdLst/>
            <a:ahLst/>
            <a:cxnLst/>
            <a:rect l="l" t="t" r="r" b="b"/>
            <a:pathLst>
              <a:path w="2229484" h="540385">
                <a:moveTo>
                  <a:pt x="0" y="540003"/>
                </a:moveTo>
                <a:lnTo>
                  <a:pt x="2229243" y="540003"/>
                </a:lnTo>
                <a:lnTo>
                  <a:pt x="2229243" y="0"/>
                </a:lnTo>
                <a:lnTo>
                  <a:pt x="0" y="0"/>
                </a:lnTo>
                <a:lnTo>
                  <a:pt x="0" y="5400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126383" y="3654397"/>
            <a:ext cx="1893921" cy="2178000"/>
          </a:xfrm>
        </p:spPr>
        <p:txBody>
          <a:bodyPr anchor="t"/>
          <a:lstStyle>
            <a:lvl1pPr marL="10800" indent="0">
              <a:lnSpc>
                <a:spcPct val="100000"/>
              </a:lnSpc>
              <a:buFontTx/>
              <a:buNone/>
              <a:defRPr sz="1100" b="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pic>
        <p:nvPicPr>
          <p:cNvPr id="32" name="Picture 2" descr="Image result for Cisco webex  Logo 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003" y="3149906"/>
            <a:ext cx="1162800" cy="3390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3865717" y="2268012"/>
            <a:ext cx="3128962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6274800"/>
            <a:ext cx="4608000" cy="44175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434183"/>
            <a:ext cx="9144000" cy="545934"/>
          </a:xfrm>
        </p:spPr>
        <p:txBody>
          <a:bodyPr anchor="t">
            <a:noAutofit/>
          </a:bodyPr>
          <a:lstStyle>
            <a:lvl1pPr algn="l">
              <a:defRPr sz="4000"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021895"/>
            <a:ext cx="9144000" cy="38671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</a:t>
            </a:r>
          </a:p>
        </p:txBody>
      </p:sp>
      <p:sp>
        <p:nvSpPr>
          <p:cNvPr id="22" name="Datumsplatzhalter 2"/>
          <p:cNvSpPr>
            <a:spLocks noGrp="1"/>
          </p:cNvSpPr>
          <p:nvPr>
            <p:ph type="dt" sz="half" idx="2"/>
          </p:nvPr>
        </p:nvSpPr>
        <p:spPr>
          <a:xfrm>
            <a:off x="9953992" y="2267773"/>
            <a:ext cx="1608001" cy="2634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407D6FC1-48B9-4C44-B729-EC0F1C37C920}" type="datetime4">
              <a:rPr lang="de-DE" smtClean="0"/>
              <a:pPr>
                <a:lnSpc>
                  <a:spcPct val="110000"/>
                </a:lnSpc>
                <a:buClr>
                  <a:srgbClr val="3C3C3C"/>
                </a:buClr>
              </a:pPr>
              <a:t>15. Juli 2022</a:t>
            </a:fld>
            <a:endParaRPr lang="de-DE" dirty="0"/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719999" y="2268012"/>
            <a:ext cx="2731861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Position, 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9953993" y="2531268"/>
            <a:ext cx="1608000" cy="215531"/>
          </a:xfr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2521132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/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9144000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9144000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-Headlin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39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6807637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6807637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-Headline &amp; Imag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7696200" y="0"/>
            <a:ext cx="4492625" cy="63182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6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21200" y="1053518"/>
            <a:ext cx="10148400" cy="504000"/>
          </a:xfrm>
          <a:solidFill>
            <a:srgbClr val="DFDAD7"/>
          </a:solidFill>
        </p:spPr>
        <p:txBody>
          <a:bodyPr vert="horz" lIns="108000" tIns="36000" rIns="108000" bIns="36000" rtlCol="0" anchor="t">
            <a:noAutofit/>
          </a:bodyPr>
          <a:lstStyle>
            <a:lvl1pPr marL="0" indent="0">
              <a:buNone/>
              <a:defRPr lang="en-US" sz="2000" b="1" dirty="0"/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321200" y="1642831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1321200" y="2232144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321200" y="2821455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321200" y="3410766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1053518"/>
            <a:ext cx="529200" cy="504000"/>
          </a:xfrm>
          <a:solidFill>
            <a:srgbClr val="DFDAD7"/>
          </a:solidFill>
        </p:spPr>
        <p:txBody>
          <a:bodyPr vert="horz" lIns="72000" tIns="36000" rIns="72000" bIns="36000" rtlCol="0" anchor="t">
            <a:noAutofit/>
          </a:bodyPr>
          <a:lstStyle>
            <a:lvl1pPr marL="0" indent="0" algn="r">
              <a:buNone/>
              <a:defRPr lang="en-US" sz="2000" b="1" dirty="0"/>
            </a:lvl1pPr>
          </a:lstStyle>
          <a:p>
            <a:pPr lvl="0" algn="ctr">
              <a:buFontTx/>
            </a:pPr>
            <a:r>
              <a:rPr lang="en-US" noProof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720000" y="1642831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2232145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720000" y="2821457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3410766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DAFAF03D-41A7-44E9-B976-13BA0C52BB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1200" y="3998308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84561FA1-E876-429A-B703-041318E848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000" y="3998308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BF365FBD-7E3B-4AF3-95D4-9B6B8AF415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21200" y="4585850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 dirty="0"/>
              <a:t>Agenda Item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8663C147-C0FC-42AC-8CA7-821537BB1C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000" y="4585850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DDC8FC65-302C-41E5-902A-B1E421A070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21200" y="5176141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 dirty="0"/>
              <a:t>Agenda Item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E50F3987-8F7F-423F-ACF7-E90016A34F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0000" y="5176141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8E265CF1-156E-4C56-9A58-B14296FD56B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21200" y="5766432"/>
            <a:ext cx="10148400" cy="504000"/>
          </a:xfrm>
          <a:solidFill>
            <a:srgbClr val="DFDAD7"/>
          </a:solidFill>
        </p:spPr>
        <p:txBody>
          <a:bodyPr lIns="108000" tIns="36000" rIns="108000" bIns="36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>
              <a:buFontTx/>
            </a:pPr>
            <a:r>
              <a:rPr lang="en-US" noProof="0"/>
              <a:t>Agenda Item</a:t>
            </a:r>
          </a:p>
        </p:txBody>
      </p:sp>
      <p:sp>
        <p:nvSpPr>
          <p:cNvPr id="50" name="Text Placeholder 23">
            <a:extLst>
              <a:ext uri="{FF2B5EF4-FFF2-40B4-BE49-F238E27FC236}">
                <a16:creationId xmlns:a16="http://schemas.microsoft.com/office/drawing/2014/main" id="{DFCED567-FE02-4B31-9D1C-DC9483DFB04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5766432"/>
            <a:ext cx="529200" cy="504000"/>
          </a:xfrm>
          <a:solidFill>
            <a:srgbClr val="DFDAD7"/>
          </a:solidFill>
        </p:spPr>
        <p:txBody>
          <a:bodyPr lIns="72000" tIns="36000" rIns="72000" bIns="36000" anchor="t"/>
          <a:lstStyle>
            <a:lvl1pPr marL="0" indent="0" algn="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81654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Sub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8" y="1531938"/>
            <a:ext cx="10749601" cy="270843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None/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92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no Subline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069925"/>
            <a:ext cx="10749601" cy="270843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None/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110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Sub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8" y="1531938"/>
            <a:ext cx="10749601" cy="1354217"/>
          </a:xfrm>
        </p:spPr>
        <p:txBody>
          <a:bodyPr>
            <a:spAutoFit/>
          </a:bodyPr>
          <a:lstStyle>
            <a:lvl1pPr>
              <a:spcBef>
                <a:spcPts val="6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34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dirty="0"/>
              <a:t>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066671"/>
            <a:ext cx="10749601" cy="1354217"/>
          </a:xfrm>
        </p:spPr>
        <p:txBody>
          <a:bodyPr>
            <a:spAutoFit/>
          </a:bodyPr>
          <a:lstStyle>
            <a:lvl1pPr>
              <a:spcBef>
                <a:spcPts val="6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19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05140" y="105533"/>
            <a:ext cx="10159528" cy="7005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Tit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705139" y="1052736"/>
            <a:ext cx="10708985" cy="4435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s level</a:t>
            </a:r>
          </a:p>
          <a:p>
            <a:pPr lvl="8"/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705138" y="6023341"/>
            <a:ext cx="2707987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718CDE92-0AAF-4D9B-A06E-34F8D07E188B}" type="datetime4">
              <a:rPr lang="de-DE" smtClean="0"/>
              <a:pPr>
                <a:lnSpc>
                  <a:spcPct val="110000"/>
                </a:lnSpc>
                <a:buClr>
                  <a:srgbClr val="3C3C3C"/>
                </a:buClr>
              </a:pPr>
              <a:t>15. Juli 2022</a:t>
            </a:fld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BA16C32E-F541-42D4-A53B-5831B9CB2201}"/>
              </a:ext>
            </a:extLst>
          </p:cNvPr>
          <p:cNvSpPr txBox="1">
            <a:spLocks/>
          </p:cNvSpPr>
          <p:nvPr userDrawn="1"/>
        </p:nvSpPr>
        <p:spPr>
          <a:xfrm>
            <a:off x="719999" y="6406755"/>
            <a:ext cx="3600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152FA5D-77E9-4F78-A67C-D653125048B5}" type="slidenum">
              <a:rPr lang="de-DE" sz="1600" smtClean="0"/>
              <a:pPr algn="r"/>
              <a:t>‹Nr.›</a:t>
            </a:fld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07524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54" r:id="rId4"/>
    <p:sldLayoutId id="2147483656" r:id="rId5"/>
    <p:sldLayoutId id="2147483660" r:id="rId6"/>
    <p:sldLayoutId id="2147483666" r:id="rId7"/>
    <p:sldLayoutId id="2147483655" r:id="rId8"/>
    <p:sldLayoutId id="2147483667" r:id="rId9"/>
    <p:sldLayoutId id="2147483657" r:id="rId10"/>
    <p:sldLayoutId id="2147483668" r:id="rId11"/>
    <p:sldLayoutId id="2147483663" r:id="rId12"/>
    <p:sldLayoutId id="2147483669" r:id="rId13"/>
    <p:sldLayoutId id="2147483665" r:id="rId14"/>
    <p:sldLayoutId id="2147483670" r:id="rId15"/>
    <p:sldLayoutId id="2147483658" r:id="rId16"/>
    <p:sldLayoutId id="2147483659" r:id="rId17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6EA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8288" marR="0" indent="-268288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6575" marR="0" indent="-268288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3275" marR="0" indent="-2667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79500" marR="0" indent="-27622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47788" marR="0" indent="-268288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6160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884363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2152650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190" userDrawn="1">
          <p15:clr>
            <a:srgbClr val="F26B43"/>
          </p15:clr>
        </p15:guide>
        <p15:guide id="3" pos="449" userDrawn="1">
          <p15:clr>
            <a:srgbClr val="F26B43"/>
          </p15:clr>
        </p15:guide>
        <p15:guide id="4" orient="horz" pos="453" userDrawn="1">
          <p15:clr>
            <a:srgbClr val="F26B43"/>
          </p15:clr>
        </p15:guide>
        <p15:guide id="5" orient="horz" pos="965" userDrawn="1">
          <p15:clr>
            <a:srgbClr val="F26B43"/>
          </p15:clr>
        </p15:guide>
        <p15:guide id="6" orient="horz" pos="37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nu.org/licenses/old-licenses/gpl-2.0.html.en" TargetMode="Externa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vn.asam.net/RunningProjects/Test_Automation/P_2020-14_iLinkRT_BS_V3-0-0_Main/Development/Wire%20Shark%20Plugin%20for%20iLinkRT/README.md" TargetMode="External"/><Relationship Id="rId2" Type="http://schemas.openxmlformats.org/officeDocument/2006/relationships/hyperlink" Target="https://svn.asam.net/RunningProjects/Test_Automation/P_2020-14_iLinkRT_BS_V3-0-0_Main/Development/Wire%20Shark%20Plugin%20for%20iLinkRT/iLinkRT_Proto.lua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gnu.org/licenses/old-licenses/gpl-2.0.html.en" TargetMode="External"/><Relationship Id="rId5" Type="http://schemas.openxmlformats.org/officeDocument/2006/relationships/hyperlink" Target="https://svn.asam.net/RunningProjects/Test_Automation/P_2020-14_iLinkRT_BS_V3-0-0_Main/Development/Wire%20Shark%20Plugin%20for%20iLinkRT/CONTRIBUTING.md" TargetMode="External"/><Relationship Id="rId4" Type="http://schemas.openxmlformats.org/officeDocument/2006/relationships/hyperlink" Target="https://svn.asam.net/RunningProjects/Test_Automation/P_2020-14_iLinkRT_BS_V3-0-0_Main/Development/Wire%20Shark%20Plugin%20for%20iLinkRT/DISCLAIMER.m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Thilo Wenzel</a:t>
            </a:r>
            <a:endParaRPr lang="en-US" dirty="0"/>
          </a:p>
          <a:p>
            <a:r>
              <a:rPr lang="en-US" dirty="0" smtClean="0"/>
              <a:t>ETAS GmbH</a:t>
            </a:r>
            <a:endParaRPr lang="en-US" dirty="0"/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69" b="31069"/>
          <a:stretch/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SAM </a:t>
            </a:r>
            <a:r>
              <a:rPr lang="en-US" dirty="0" smtClean="0"/>
              <a:t>iLinkRT V3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Wireshark </a:t>
            </a:r>
            <a:r>
              <a:rPr lang="en-US" dirty="0" smtClean="0"/>
              <a:t>Plugin Presentation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30.06.2022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07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21200" y="1540792"/>
            <a:ext cx="10092925" cy="431992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Introduc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321200" y="2111817"/>
            <a:ext cx="10092925" cy="431992"/>
          </a:xfrm>
        </p:spPr>
        <p:txBody>
          <a:bodyPr/>
          <a:lstStyle/>
          <a:p>
            <a:r>
              <a:rPr lang="en-US" dirty="0" smtClean="0"/>
              <a:t>Motiv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1321200" y="2682842"/>
            <a:ext cx="10092925" cy="431992"/>
          </a:xfrm>
        </p:spPr>
        <p:txBody>
          <a:bodyPr/>
          <a:lstStyle/>
          <a:p>
            <a:r>
              <a:rPr lang="en-US" dirty="0" smtClean="0"/>
              <a:t>Idea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321200" y="3253865"/>
            <a:ext cx="10092925" cy="431992"/>
          </a:xfrm>
        </p:spPr>
        <p:txBody>
          <a:bodyPr/>
          <a:lstStyle/>
          <a:p>
            <a:r>
              <a:rPr lang="en-US" dirty="0" smtClean="0"/>
              <a:t>Featur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1321200" y="3824888"/>
            <a:ext cx="10092925" cy="431992"/>
          </a:xfrm>
        </p:spPr>
        <p:txBody>
          <a:bodyPr/>
          <a:lstStyle/>
          <a:p>
            <a:r>
              <a:rPr lang="en-US" dirty="0" smtClean="0"/>
              <a:t>Open Sourc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720000" y="1540792"/>
            <a:ext cx="529200" cy="431992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720000" y="2111817"/>
            <a:ext cx="529200" cy="431992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720000" y="2682843"/>
            <a:ext cx="529200" cy="431992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5"/>
          </p:nvPr>
        </p:nvSpPr>
        <p:spPr>
          <a:xfrm>
            <a:off x="720000" y="3253867"/>
            <a:ext cx="529200" cy="431992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720000" y="3824888"/>
            <a:ext cx="529200" cy="431992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7085CD0A-578C-49A4-9EBC-D1719E8D4AE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321200" y="4394142"/>
            <a:ext cx="10092925" cy="431992"/>
          </a:xfrm>
        </p:spPr>
        <p:txBody>
          <a:bodyPr/>
          <a:lstStyle/>
          <a:p>
            <a:r>
              <a:rPr lang="en-US" dirty="0" smtClean="0"/>
              <a:t>Deliverables</a:t>
            </a:r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344C123-70A8-43D4-8837-36D43B3F9D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0000" y="4394142"/>
            <a:ext cx="529200" cy="431992"/>
          </a:xfrm>
        </p:spPr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22AF0A77-E81B-47F3-9DBB-612F5559CFE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321200" y="4945108"/>
            <a:ext cx="10092925" cy="431992"/>
          </a:xfrm>
        </p:spPr>
        <p:txBody>
          <a:bodyPr/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9A4DDA13-73C3-4FDB-ADDA-5089D54082F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0000" y="4945108"/>
            <a:ext cx="529200" cy="431992"/>
          </a:xfrm>
        </p:spPr>
        <p:txBody>
          <a:bodyPr/>
          <a:lstStyle/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18267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8C58839-66A4-4833-A9FD-0C54385872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9583" y="1525082"/>
            <a:ext cx="8246737" cy="3000821"/>
          </a:xfrm>
        </p:spPr>
        <p:txBody>
          <a:bodyPr/>
          <a:lstStyle/>
          <a:p>
            <a:r>
              <a:rPr lang="en-US" b="1" dirty="0" smtClean="0"/>
              <a:t>iLinkRT</a:t>
            </a:r>
            <a:r>
              <a:rPr lang="en-US" dirty="0" smtClean="0"/>
              <a:t> </a:t>
            </a:r>
            <a:r>
              <a:rPr lang="en-US" dirty="0"/>
              <a:t>describes a multi-client / multi-server architecture for the purpose of fast channel based communication between MC-Servers (e.g. application system for electronic control units (ECU)) and MC-Clients (e.g. system for test automation)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iLinkRT defines a protocol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iLinkRT supports Ethernet as physical lay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0"/>
            <a:r>
              <a:rPr lang="en-US" b="1" dirty="0" smtClean="0"/>
              <a:t>Wireshark</a:t>
            </a:r>
            <a:r>
              <a:rPr lang="en-US" dirty="0" smtClean="0"/>
              <a:t> is a tool that allows to monitor telegrams on Etherne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Wireshark is commonly us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Wireshark supports plugins to interpret telegram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7505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ivation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8C58839-66A4-4833-A9FD-0C54385872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976" y="1525081"/>
            <a:ext cx="8399137" cy="1708160"/>
          </a:xfrm>
        </p:spPr>
        <p:txBody>
          <a:bodyPr/>
          <a:lstStyle/>
          <a:p>
            <a:r>
              <a:rPr lang="en-US" dirty="0" smtClean="0"/>
              <a:t>When implementing iLinkRT in a product it is necessary to check whether the product sends and receives iLinkRT telegrams correct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Structure of telegram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tent of telegram</a:t>
            </a:r>
            <a:endParaRPr lang="de-DE" dirty="0"/>
          </a:p>
          <a:p>
            <a:r>
              <a:rPr lang="en-US" dirty="0" smtClean="0"/>
              <a:t>The telegram analysis is difficult without the support of a tool that interprets the pure telegram arr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70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dea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8C58839-66A4-4833-A9FD-0C54385872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976" y="1525081"/>
            <a:ext cx="8399137" cy="246221"/>
          </a:xfrm>
        </p:spPr>
        <p:txBody>
          <a:bodyPr/>
          <a:lstStyle/>
          <a:p>
            <a:r>
              <a:rPr lang="en-US" dirty="0" smtClean="0"/>
              <a:t>Extend Wireshark with an iLinkRT plugin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3140968"/>
            <a:ext cx="5328592" cy="264885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2066" y="1525081"/>
            <a:ext cx="5106574" cy="4460915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07368" y="2740858"/>
            <a:ext cx="22322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Wireshark as i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522066" y="1052736"/>
            <a:ext cx="4176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Wireshark with iLinkRT plugin</a:t>
            </a:r>
          </a:p>
        </p:txBody>
      </p:sp>
      <p:sp>
        <p:nvSpPr>
          <p:cNvPr id="9" name="Freihandform 8"/>
          <p:cNvSpPr/>
          <p:nvPr/>
        </p:nvSpPr>
        <p:spPr>
          <a:xfrm>
            <a:off x="5754414" y="3011214"/>
            <a:ext cx="780393" cy="2096814"/>
          </a:xfrm>
          <a:custGeom>
            <a:avLst/>
            <a:gdLst>
              <a:gd name="connsiteX0" fmla="*/ 7883 w 780393"/>
              <a:gd name="connsiteY0" fmla="*/ 1679027 h 2096814"/>
              <a:gd name="connsiteX1" fmla="*/ 764627 w 780393"/>
              <a:gd name="connsiteY1" fmla="*/ 0 h 2096814"/>
              <a:gd name="connsiteX2" fmla="*/ 780393 w 780393"/>
              <a:gd name="connsiteY2" fmla="*/ 2096814 h 2096814"/>
              <a:gd name="connsiteX3" fmla="*/ 0 w 780393"/>
              <a:gd name="connsiteY3" fmla="*/ 1797269 h 2096814"/>
              <a:gd name="connsiteX4" fmla="*/ 7883 w 780393"/>
              <a:gd name="connsiteY4" fmla="*/ 1679027 h 2096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393" h="2096814">
                <a:moveTo>
                  <a:pt x="7883" y="1679027"/>
                </a:moveTo>
                <a:lnTo>
                  <a:pt x="764627" y="0"/>
                </a:lnTo>
                <a:lnTo>
                  <a:pt x="780393" y="2096814"/>
                </a:lnTo>
                <a:lnTo>
                  <a:pt x="0" y="1797269"/>
                </a:lnTo>
                <a:lnTo>
                  <a:pt x="7883" y="1679027"/>
                </a:lnTo>
                <a:close/>
              </a:path>
            </a:pathLst>
          </a:cu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12804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33804" y="1531938"/>
            <a:ext cx="10749601" cy="1538883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en-US" b="1" dirty="0">
                <a:solidFill>
                  <a:srgbClr val="006EA5"/>
                </a:solidFill>
              </a:rPr>
              <a:t>LUA script that can be used by Wireshark as plugin</a:t>
            </a:r>
          </a:p>
          <a:p>
            <a:pPr marL="0" indent="0">
              <a:buNone/>
            </a:pPr>
            <a:r>
              <a:rPr lang="en-US" dirty="0" smtClean="0"/>
              <a:t>LUA is a programming language that allows to extend the Wireshark functionality</a:t>
            </a:r>
          </a:p>
          <a:p>
            <a:r>
              <a:rPr lang="en-US" dirty="0" smtClean="0"/>
              <a:t>Automatic detection of iLinkRT frames</a:t>
            </a:r>
            <a:endParaRPr lang="en-US" dirty="0"/>
          </a:p>
          <a:p>
            <a:r>
              <a:rPr lang="en-US" dirty="0" smtClean="0"/>
              <a:t>Interpretation of </a:t>
            </a:r>
            <a:r>
              <a:rPr lang="en-US" dirty="0"/>
              <a:t>iLinkRT command requests (</a:t>
            </a:r>
            <a:r>
              <a:rPr lang="en-US" dirty="0" smtClean="0"/>
              <a:t>CTO)</a:t>
            </a:r>
          </a:p>
          <a:p>
            <a:r>
              <a:rPr lang="en-US" dirty="0" smtClean="0"/>
              <a:t>Interpretation of iLinkRT event and data telegrams (DTO)</a:t>
            </a:r>
          </a:p>
        </p:txBody>
      </p:sp>
    </p:spTree>
    <p:extLst>
      <p:ext uri="{BB962C8B-B14F-4D97-AF65-F5344CB8AC3E}">
        <p14:creationId xmlns:p14="http://schemas.microsoft.com/office/powerpoint/2010/main" val="275517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Sourc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1199" y="1531938"/>
            <a:ext cx="10749601" cy="1938992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>
                <a:solidFill>
                  <a:srgbClr val="006EA5"/>
                </a:solidFill>
              </a:rPr>
              <a:t>License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>
                <a:hlinkClick r:id="rId2"/>
              </a:rPr>
              <a:t>GNU General Public License, version 2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spcBef>
                <a:spcPts val="1200"/>
              </a:spcBef>
              <a:buNone/>
            </a:pPr>
            <a:r>
              <a:rPr lang="en-US" b="1" dirty="0" smtClean="0">
                <a:solidFill>
                  <a:srgbClr val="006EA5"/>
                </a:solidFill>
              </a:rPr>
              <a:t>Location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 err="1" smtClean="0"/>
              <a:t>Github</a:t>
            </a:r>
            <a:r>
              <a:rPr lang="en-US" dirty="0" smtClean="0"/>
              <a:t> (ASAM </a:t>
            </a:r>
            <a:r>
              <a:rPr lang="en-US" dirty="0" err="1"/>
              <a:t>e.V</a:t>
            </a:r>
            <a:r>
              <a:rPr lang="en-US" dirty="0"/>
              <a:t>. Open Source </a:t>
            </a:r>
            <a:r>
              <a:rPr lang="en-US" dirty="0" smtClean="0"/>
              <a:t>Platform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21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liverabl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1199" y="1539648"/>
            <a:ext cx="10749601" cy="3785652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en-US" b="1" dirty="0" err="1" smtClean="0">
                <a:solidFill>
                  <a:srgbClr val="006EA5"/>
                </a:solidFill>
              </a:rPr>
              <a:t>Lua</a:t>
            </a:r>
            <a:r>
              <a:rPr lang="en-US" b="1" dirty="0" smtClean="0">
                <a:solidFill>
                  <a:srgbClr val="006EA5"/>
                </a:solidFill>
              </a:rPr>
              <a:t> Script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 err="1" smtClean="0">
                <a:hlinkClick r:id="rId2"/>
              </a:rPr>
              <a:t>iLinkRT_Proto.lua</a:t>
            </a:r>
            <a:endParaRPr lang="en-US" dirty="0"/>
          </a:p>
          <a:p>
            <a:pPr marL="0" indent="0">
              <a:spcBef>
                <a:spcPts val="1200"/>
              </a:spcBef>
              <a:buNone/>
            </a:pPr>
            <a:r>
              <a:rPr lang="en-US" b="1" dirty="0" smtClean="0">
                <a:solidFill>
                  <a:srgbClr val="006EA5"/>
                </a:solidFill>
              </a:rPr>
              <a:t>Readme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 smtClean="0">
                <a:hlinkClick r:id="rId3"/>
              </a:rPr>
              <a:t>ReadMe.md</a:t>
            </a:r>
            <a:endParaRPr lang="en-US" dirty="0"/>
          </a:p>
          <a:p>
            <a:pPr marL="0" indent="0">
              <a:spcBef>
                <a:spcPts val="1200"/>
              </a:spcBef>
              <a:buNone/>
            </a:pPr>
            <a:r>
              <a:rPr lang="en-US" b="1" dirty="0" smtClean="0">
                <a:solidFill>
                  <a:srgbClr val="006EA5"/>
                </a:solidFill>
              </a:rPr>
              <a:t>Disclaimer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 smtClean="0">
                <a:hlinkClick r:id="rId4"/>
              </a:rPr>
              <a:t>Disclaimer.md</a:t>
            </a:r>
            <a:endParaRPr lang="en-US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en-US" b="1" dirty="0" smtClean="0">
                <a:solidFill>
                  <a:srgbClr val="006EA5"/>
                </a:solidFill>
              </a:rPr>
              <a:t>Contributing</a:t>
            </a:r>
          </a:p>
          <a:p>
            <a:r>
              <a:rPr lang="en-US" dirty="0" smtClean="0">
                <a:hlinkClick r:id="rId5"/>
              </a:rPr>
              <a:t>Contributing.md</a:t>
            </a:r>
            <a:endParaRPr lang="en-US" dirty="0"/>
          </a:p>
          <a:p>
            <a:pPr marL="0" indent="0">
              <a:spcBef>
                <a:spcPts val="1200"/>
              </a:spcBef>
              <a:buNone/>
            </a:pPr>
            <a:r>
              <a:rPr lang="en-US" b="1" dirty="0" smtClean="0">
                <a:solidFill>
                  <a:srgbClr val="006EA5"/>
                </a:solidFill>
              </a:rPr>
              <a:t>License</a:t>
            </a:r>
            <a:endParaRPr lang="en-US" b="1" dirty="0">
              <a:solidFill>
                <a:srgbClr val="006EA5"/>
              </a:solidFill>
            </a:endParaRPr>
          </a:p>
          <a:p>
            <a:r>
              <a:rPr lang="en-US" dirty="0">
                <a:hlinkClick r:id="rId6"/>
              </a:rPr>
              <a:t>GNU General Public License, version 2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3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AM Layout">
  <a:themeElements>
    <a:clrScheme name="Custom 19">
      <a:dk1>
        <a:srgbClr val="333333"/>
      </a:dk1>
      <a:lt1>
        <a:sysClr val="window" lastClr="FFFFFF"/>
      </a:lt1>
      <a:dk2>
        <a:srgbClr val="44546A"/>
      </a:dk2>
      <a:lt2>
        <a:srgbClr val="DFDAD7"/>
      </a:lt2>
      <a:accent1>
        <a:srgbClr val="006EA5"/>
      </a:accent1>
      <a:accent2>
        <a:srgbClr val="AEA39C"/>
      </a:accent2>
      <a:accent3>
        <a:srgbClr val="4AB9AB"/>
      </a:accent3>
      <a:accent4>
        <a:srgbClr val="51995B"/>
      </a:accent4>
      <a:accent5>
        <a:srgbClr val="E93F47"/>
      </a:accent5>
      <a:accent6>
        <a:srgbClr val="F69731"/>
      </a:accent6>
      <a:hlink>
        <a:srgbClr val="006EA5"/>
      </a:hlink>
      <a:folHlink>
        <a:srgbClr val="4AB9AB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973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0</Words>
  <Application>Microsoft Office PowerPoint</Application>
  <PresentationFormat>Breitbild</PresentationFormat>
  <Paragraphs>61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Calibri</vt:lpstr>
      <vt:lpstr>ASAM Layout</vt:lpstr>
      <vt:lpstr>think-cell Slide</vt:lpstr>
      <vt:lpstr>ASAM iLinkRT V3</vt:lpstr>
      <vt:lpstr>Agenda</vt:lpstr>
      <vt:lpstr>Introduction</vt:lpstr>
      <vt:lpstr>Motivation</vt:lpstr>
      <vt:lpstr>Idea</vt:lpstr>
      <vt:lpstr>Features</vt:lpstr>
      <vt:lpstr>Open Source</vt:lpstr>
      <vt:lpstr>Deliverables</vt:lpstr>
    </vt:vector>
  </TitlesOfParts>
  <Company>ASAM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AM &lt;Standard Name&gt; v&lt;Version&gt;</dc:title>
  <dc:subject>Release Presentation</dc:subject>
  <dc:creator>Dorothee Bassermann</dc:creator>
  <cp:lastModifiedBy>Wenzel Thilo (ETAS-DAP/XPC-Fe4)</cp:lastModifiedBy>
  <cp:revision>89</cp:revision>
  <dcterms:created xsi:type="dcterms:W3CDTF">2017-04-06T10:14:41Z</dcterms:created>
  <dcterms:modified xsi:type="dcterms:W3CDTF">2022-07-15T10:37:30Z</dcterms:modified>
</cp:coreProperties>
</file>